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1" r:id="rId2"/>
  </p:sldMasterIdLst>
  <p:notesMasterIdLst>
    <p:notesMasterId r:id="rId12"/>
  </p:notesMasterIdLst>
  <p:sldIdLst>
    <p:sldId id="256" r:id="rId3"/>
    <p:sldId id="270" r:id="rId4"/>
    <p:sldId id="263" r:id="rId5"/>
    <p:sldId id="264" r:id="rId6"/>
    <p:sldId id="265" r:id="rId7"/>
    <p:sldId id="266" r:id="rId8"/>
    <p:sldId id="269" r:id="rId9"/>
    <p:sldId id="267" r:id="rId10"/>
    <p:sldId id="268" r:id="rId11"/>
  </p:sldIdLst>
  <p:sldSz cx="12192000" cy="6858000"/>
  <p:notesSz cx="6858000" cy="9144000"/>
  <p:custDataLst>
    <p:tags r:id="rId1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67" d="100"/>
          <a:sy n="67" d="100"/>
        </p:scale>
        <p:origin x="644" y="4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tags" Target="tags/tag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viewProps" Target="view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CABEA2E-A751-4FE8-85D8-1CF4682942C8}" type="datetimeFigureOut">
              <a:rPr lang="en-GB" smtClean="0"/>
              <a:t>21/05/2024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316E121-EC74-451A-BE76-A1580ABC7D7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0144518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9F677A-CD63-FBEA-94B8-25D0C827DB3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4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4A77C7B-6699-AADC-F2E7-8C13552F8C5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16" indent="0" algn="ctr">
              <a:buNone/>
              <a:defRPr sz="2000"/>
            </a:lvl2pPr>
            <a:lvl3pPr marL="914433" indent="0" algn="ctr">
              <a:buNone/>
              <a:defRPr sz="1801"/>
            </a:lvl3pPr>
            <a:lvl4pPr marL="1371653" indent="0" algn="ctr">
              <a:buNone/>
              <a:defRPr sz="1600"/>
            </a:lvl4pPr>
            <a:lvl5pPr marL="1828869" indent="0" algn="ctr">
              <a:buNone/>
              <a:defRPr sz="1600"/>
            </a:lvl5pPr>
            <a:lvl6pPr marL="2286085" indent="0" algn="ctr">
              <a:buNone/>
              <a:defRPr sz="1600"/>
            </a:lvl6pPr>
            <a:lvl7pPr marL="2743302" indent="0" algn="ctr">
              <a:buNone/>
              <a:defRPr sz="1600"/>
            </a:lvl7pPr>
            <a:lvl8pPr marL="3200522" indent="0" algn="ctr">
              <a:buNone/>
              <a:defRPr sz="1600"/>
            </a:lvl8pPr>
            <a:lvl9pPr marL="3657738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5D72715-10B2-EB79-4261-C08938327F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0CDEAF-96E6-44B5-B253-C687B29BE08A}" type="datetimeFigureOut">
              <a:rPr lang="en-GB" smtClean="0"/>
              <a:t>21/05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30D0E6C-E218-A631-6B44-01EF891483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72A733B-3A0D-C567-A559-BAE7425585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9D3EA8-6D67-4C79-B3CA-C863532DFA2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3248376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2D4696-71A1-D8E8-5864-F1DFE87238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027D376-1AB4-6F84-1506-C71C81FF964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4375066-405B-B32D-AC43-D922F806E6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0CDEAF-96E6-44B5-B253-C687B29BE08A}" type="datetimeFigureOut">
              <a:rPr lang="en-GB" smtClean="0"/>
              <a:t>21/05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382819D-41C0-421C-95BC-BA882CDF05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C7AB0B6-62AD-E548-2186-BA3FAE3FBB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9D3EA8-6D67-4C79-B3CA-C863532DFA2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0242148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03572726-F1CD-8602-C8E9-336476073D4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899" y="365126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65C61CE-A798-1F2C-E051-D1221942C93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199" y="365126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DEB569A-78A5-5267-6A07-8BBCD2AE80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0CDEAF-96E6-44B5-B253-C687B29BE08A}" type="datetimeFigureOut">
              <a:rPr lang="en-GB" smtClean="0"/>
              <a:t>21/05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1494344-7D60-438C-1019-2E3D74FEE9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BFFAB0E-9EA2-273E-DC49-F4F8F8CB13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9D3EA8-6D67-4C79-B3CA-C863532DFA2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8066162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18874" y="1328852"/>
            <a:ext cx="2793559" cy="541793"/>
          </a:xfrm>
          <a:prstGeom prst="rect">
            <a:avLst/>
          </a:prstGeom>
        </p:spPr>
        <p:txBody>
          <a:bodyPr wrap="square" lIns="228589" tIns="228589" rIns="228589" bIns="228589" anchor="t" anchorCtr="0">
            <a:spAutoFit/>
          </a:bodyPr>
          <a:lstStyle>
            <a:lvl1pPr marL="0" indent="0">
              <a:buNone/>
              <a:defRPr sz="521">
                <a:solidFill>
                  <a:schemeClr val="accent5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defRPr>
            </a:lvl1pPr>
            <a:lvl2pPr marL="309599" indent="-119077">
              <a:defRPr sz="521">
                <a:latin typeface="Trebuchet MS" pitchFamily="34" charset="0"/>
              </a:defRPr>
            </a:lvl2pPr>
            <a:lvl3pPr marL="428677" indent="-119077">
              <a:defRPr sz="521">
                <a:latin typeface="Trebuchet MS" pitchFamily="34" charset="0"/>
              </a:defRPr>
            </a:lvl3pPr>
            <a:lvl4pPr marL="559662" indent="-130985">
              <a:defRPr sz="521">
                <a:latin typeface="Trebuchet MS" pitchFamily="34" charset="0"/>
              </a:defRPr>
            </a:lvl4pPr>
            <a:lvl5pPr marL="654926" indent="-95263">
              <a:defRPr sz="521">
                <a:latin typeface="Trebuchet MS" pitchFamily="34" charset="0"/>
              </a:defRPr>
            </a:lvl5pPr>
          </a:lstStyle>
          <a:p>
            <a:pPr lvl="0"/>
            <a:r>
              <a:rPr lang="en-US" dirty="0"/>
              <a:t>Type in or paste your text her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123915" y="1155993"/>
            <a:ext cx="2791355" cy="303473"/>
          </a:xfrm>
          <a:prstGeom prst="rect">
            <a:avLst/>
          </a:prstGeom>
          <a:noFill/>
        </p:spPr>
        <p:txBody>
          <a:bodyPr lIns="91436" tIns="91436" rIns="91436" bIns="91436" anchor="t" anchorCtr="0">
            <a:spAutoFit/>
          </a:bodyPr>
          <a:lstStyle>
            <a:lvl1pPr marL="0" indent="0" algn="ctr">
              <a:buNone/>
              <a:defRPr sz="772" b="1" u="sng" baseline="0">
                <a:solidFill>
                  <a:schemeClr val="accent5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(click to edit) INTRODUCTION or ABSTRACT</a:t>
            </a:r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20" hasCustomPrompt="1"/>
          </p:nvPr>
        </p:nvSpPr>
        <p:spPr>
          <a:xfrm>
            <a:off x="123915" y="2960943"/>
            <a:ext cx="2791796" cy="303473"/>
          </a:xfrm>
          <a:prstGeom prst="rect">
            <a:avLst/>
          </a:prstGeom>
          <a:noFill/>
        </p:spPr>
        <p:txBody>
          <a:bodyPr wrap="square" lIns="91436" tIns="91436" rIns="91436" bIns="91436" anchor="t" anchorCtr="0">
            <a:spAutoFit/>
          </a:bodyPr>
          <a:lstStyle>
            <a:lvl1pPr marL="0" indent="0" algn="ctr">
              <a:buNone/>
              <a:defRPr sz="772" b="1" u="sng" baseline="0">
                <a:solidFill>
                  <a:schemeClr val="accent5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(click to edit)  OBJECTIVES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3174563" y="1328852"/>
            <a:ext cx="2791355" cy="541793"/>
          </a:xfrm>
          <a:prstGeom prst="rect">
            <a:avLst/>
          </a:prstGeom>
        </p:spPr>
        <p:txBody>
          <a:bodyPr wrap="square" lIns="228589" tIns="228589" rIns="228589" bIns="228589" anchor="t" anchorCtr="0">
            <a:spAutoFit/>
          </a:bodyPr>
          <a:lstStyle>
            <a:lvl1pPr marL="0" indent="0">
              <a:buNone/>
              <a:defRPr sz="521">
                <a:solidFill>
                  <a:schemeClr val="accent5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defRPr>
            </a:lvl1pPr>
            <a:lvl2pPr marL="309599" indent="-119077">
              <a:defRPr sz="521">
                <a:latin typeface="Trebuchet MS" pitchFamily="34" charset="0"/>
              </a:defRPr>
            </a:lvl2pPr>
            <a:lvl3pPr marL="428677" indent="-119077">
              <a:defRPr sz="521">
                <a:latin typeface="Trebuchet MS" pitchFamily="34" charset="0"/>
              </a:defRPr>
            </a:lvl3pPr>
            <a:lvl4pPr marL="559662" indent="-130985">
              <a:defRPr sz="521">
                <a:latin typeface="Trebuchet MS" pitchFamily="34" charset="0"/>
              </a:defRPr>
            </a:lvl4pPr>
            <a:lvl5pPr marL="654926" indent="-95263">
              <a:defRPr sz="521">
                <a:latin typeface="Trebuchet MS" pitchFamily="34" charset="0"/>
              </a:defRPr>
            </a:lvl5pPr>
          </a:lstStyle>
          <a:p>
            <a:pPr lvl="0"/>
            <a:r>
              <a:rPr lang="en-US" dirty="0"/>
              <a:t>Type in or paste your text here</a:t>
            </a:r>
          </a:p>
        </p:txBody>
      </p:sp>
      <p:sp>
        <p:nvSpPr>
          <p:cNvPr id="22" name="Text Placeholder 5"/>
          <p:cNvSpPr>
            <a:spLocks noGrp="1"/>
          </p:cNvSpPr>
          <p:nvPr>
            <p:ph type="body" sz="quarter" idx="22" hasCustomPrompt="1"/>
          </p:nvPr>
        </p:nvSpPr>
        <p:spPr>
          <a:xfrm>
            <a:off x="3173421" y="1155993"/>
            <a:ext cx="2791355" cy="303473"/>
          </a:xfrm>
          <a:prstGeom prst="rect">
            <a:avLst/>
          </a:prstGeom>
          <a:noFill/>
        </p:spPr>
        <p:txBody>
          <a:bodyPr lIns="91436" tIns="91436" rIns="91436" bIns="91436" anchor="t" anchorCtr="0">
            <a:spAutoFit/>
          </a:bodyPr>
          <a:lstStyle>
            <a:lvl1pPr marL="0" indent="0" algn="ctr">
              <a:buNone/>
              <a:defRPr sz="772" b="1" u="sng" baseline="0">
                <a:solidFill>
                  <a:schemeClr val="accent5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(click to edit)  MATERIALS &amp; METHODS</a:t>
            </a:r>
          </a:p>
        </p:txBody>
      </p:sp>
      <p:sp>
        <p:nvSpPr>
          <p:cNvPr id="23" name="Text Placeholder 3"/>
          <p:cNvSpPr>
            <a:spLocks noGrp="1"/>
          </p:cNvSpPr>
          <p:nvPr>
            <p:ph type="body" sz="quarter" idx="23" hasCustomPrompt="1"/>
          </p:nvPr>
        </p:nvSpPr>
        <p:spPr>
          <a:xfrm>
            <a:off x="6226977" y="1328852"/>
            <a:ext cx="2791355" cy="541793"/>
          </a:xfrm>
          <a:prstGeom prst="rect">
            <a:avLst/>
          </a:prstGeom>
        </p:spPr>
        <p:txBody>
          <a:bodyPr wrap="square" lIns="228589" tIns="228589" rIns="228589" bIns="228589" anchor="t" anchorCtr="0">
            <a:spAutoFit/>
          </a:bodyPr>
          <a:lstStyle>
            <a:lvl1pPr marL="0" indent="0">
              <a:buNone/>
              <a:defRPr sz="521">
                <a:solidFill>
                  <a:schemeClr val="accent5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defRPr>
            </a:lvl1pPr>
            <a:lvl2pPr marL="309599" indent="-119077">
              <a:defRPr sz="521">
                <a:latin typeface="Trebuchet MS" pitchFamily="34" charset="0"/>
              </a:defRPr>
            </a:lvl2pPr>
            <a:lvl3pPr marL="428677" indent="-119077">
              <a:defRPr sz="521">
                <a:latin typeface="Trebuchet MS" pitchFamily="34" charset="0"/>
              </a:defRPr>
            </a:lvl3pPr>
            <a:lvl4pPr marL="559662" indent="-130985">
              <a:defRPr sz="521">
                <a:latin typeface="Trebuchet MS" pitchFamily="34" charset="0"/>
              </a:defRPr>
            </a:lvl4pPr>
            <a:lvl5pPr marL="654926" indent="-95263">
              <a:defRPr sz="521">
                <a:latin typeface="Trebuchet MS" pitchFamily="34" charset="0"/>
              </a:defRPr>
            </a:lvl5pPr>
          </a:lstStyle>
          <a:p>
            <a:pPr lvl="0"/>
            <a:r>
              <a:rPr lang="en-US" dirty="0"/>
              <a:t>Type in or paste your text here</a:t>
            </a: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24" hasCustomPrompt="1"/>
          </p:nvPr>
        </p:nvSpPr>
        <p:spPr>
          <a:xfrm>
            <a:off x="6222927" y="1155993"/>
            <a:ext cx="2794000" cy="303473"/>
          </a:xfrm>
          <a:prstGeom prst="rect">
            <a:avLst/>
          </a:prstGeom>
          <a:noFill/>
        </p:spPr>
        <p:txBody>
          <a:bodyPr lIns="91436" tIns="91436" rIns="91436" bIns="91436" anchor="t" anchorCtr="0">
            <a:spAutoFit/>
          </a:bodyPr>
          <a:lstStyle>
            <a:lvl1pPr marL="0" indent="0" algn="ctr">
              <a:buNone/>
              <a:defRPr sz="772" b="1" u="sng" baseline="0">
                <a:solidFill>
                  <a:schemeClr val="accent5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(click to edit)  RESULTS</a:t>
            </a:r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25" hasCustomPrompt="1"/>
          </p:nvPr>
        </p:nvSpPr>
        <p:spPr>
          <a:xfrm>
            <a:off x="9275081" y="1155993"/>
            <a:ext cx="2790837" cy="303473"/>
          </a:xfrm>
          <a:prstGeom prst="rect">
            <a:avLst/>
          </a:prstGeom>
          <a:noFill/>
        </p:spPr>
        <p:txBody>
          <a:bodyPr wrap="square" lIns="91436" tIns="91436" rIns="91436" bIns="91436" anchor="t" anchorCtr="0">
            <a:spAutoFit/>
          </a:bodyPr>
          <a:lstStyle>
            <a:lvl1pPr marL="0" indent="0" algn="ctr">
              <a:buNone/>
              <a:defRPr sz="772" b="1" u="sng" baseline="0">
                <a:solidFill>
                  <a:schemeClr val="accent5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(click to edit)  CONCLUSIONS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26" hasCustomPrompt="1"/>
          </p:nvPr>
        </p:nvSpPr>
        <p:spPr>
          <a:xfrm>
            <a:off x="9275081" y="1328852"/>
            <a:ext cx="2790837" cy="541793"/>
          </a:xfrm>
          <a:prstGeom prst="rect">
            <a:avLst/>
          </a:prstGeom>
        </p:spPr>
        <p:txBody>
          <a:bodyPr wrap="square" lIns="228589" tIns="228589" rIns="228589" bIns="228589" anchor="t" anchorCtr="0">
            <a:spAutoFit/>
          </a:bodyPr>
          <a:lstStyle>
            <a:lvl1pPr marL="0" indent="0">
              <a:buNone/>
              <a:defRPr sz="521">
                <a:solidFill>
                  <a:schemeClr val="accent5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defRPr>
            </a:lvl1pPr>
            <a:lvl2pPr marL="309599" indent="-119077">
              <a:defRPr sz="521">
                <a:latin typeface="Trebuchet MS" pitchFamily="34" charset="0"/>
              </a:defRPr>
            </a:lvl2pPr>
            <a:lvl3pPr marL="428677" indent="-119077">
              <a:defRPr sz="521">
                <a:latin typeface="Trebuchet MS" pitchFamily="34" charset="0"/>
              </a:defRPr>
            </a:lvl3pPr>
            <a:lvl4pPr marL="559662" indent="-130985">
              <a:defRPr sz="521">
                <a:latin typeface="Trebuchet MS" pitchFamily="34" charset="0"/>
              </a:defRPr>
            </a:lvl4pPr>
            <a:lvl5pPr marL="654926" indent="-95263">
              <a:defRPr sz="521">
                <a:latin typeface="Trebuchet MS" pitchFamily="34" charset="0"/>
              </a:defRPr>
            </a:lvl5pPr>
          </a:lstStyle>
          <a:p>
            <a:pPr lvl="0"/>
            <a:r>
              <a:rPr lang="en-US" dirty="0"/>
              <a:t>Type in or paste your text here</a:t>
            </a:r>
          </a:p>
        </p:txBody>
      </p:sp>
      <p:sp>
        <p:nvSpPr>
          <p:cNvPr id="27" name="Text Placeholder 5"/>
          <p:cNvSpPr>
            <a:spLocks noGrp="1"/>
          </p:cNvSpPr>
          <p:nvPr>
            <p:ph type="body" sz="quarter" idx="27" hasCustomPrompt="1"/>
          </p:nvPr>
        </p:nvSpPr>
        <p:spPr>
          <a:xfrm>
            <a:off x="9275081" y="2973489"/>
            <a:ext cx="2790837" cy="303473"/>
          </a:xfrm>
          <a:prstGeom prst="rect">
            <a:avLst/>
          </a:prstGeom>
          <a:noFill/>
        </p:spPr>
        <p:txBody>
          <a:bodyPr wrap="square" lIns="91436" tIns="91436" rIns="91436" bIns="91436" anchor="t" anchorCtr="0">
            <a:spAutoFit/>
          </a:bodyPr>
          <a:lstStyle>
            <a:lvl1pPr marL="0" indent="0" algn="ctr">
              <a:buNone/>
              <a:defRPr sz="772" b="1" u="sng" baseline="0">
                <a:solidFill>
                  <a:schemeClr val="accent5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(click to edit)  REFERENCES</a:t>
            </a:r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28" hasCustomPrompt="1"/>
          </p:nvPr>
        </p:nvSpPr>
        <p:spPr>
          <a:xfrm>
            <a:off x="9275086" y="3127378"/>
            <a:ext cx="2792236" cy="541793"/>
          </a:xfrm>
          <a:prstGeom prst="rect">
            <a:avLst/>
          </a:prstGeom>
        </p:spPr>
        <p:txBody>
          <a:bodyPr wrap="square" lIns="228589" tIns="228589" rIns="228589" bIns="228589" anchor="t" anchorCtr="0">
            <a:spAutoFit/>
          </a:bodyPr>
          <a:lstStyle>
            <a:lvl1pPr marL="0" indent="0">
              <a:buNone/>
              <a:defRPr sz="521">
                <a:solidFill>
                  <a:schemeClr val="accent5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defRPr>
            </a:lvl1pPr>
            <a:lvl2pPr marL="309599" indent="-119077">
              <a:defRPr sz="521">
                <a:latin typeface="Trebuchet MS" pitchFamily="34" charset="0"/>
              </a:defRPr>
            </a:lvl2pPr>
            <a:lvl3pPr marL="428677" indent="-119077">
              <a:defRPr sz="521">
                <a:latin typeface="Trebuchet MS" pitchFamily="34" charset="0"/>
              </a:defRPr>
            </a:lvl3pPr>
            <a:lvl4pPr marL="559662" indent="-130985">
              <a:defRPr sz="521">
                <a:latin typeface="Trebuchet MS" pitchFamily="34" charset="0"/>
              </a:defRPr>
            </a:lvl4pPr>
            <a:lvl5pPr marL="654926" indent="-95263">
              <a:defRPr sz="521">
                <a:latin typeface="Trebuchet MS" pitchFamily="34" charset="0"/>
              </a:defRPr>
            </a:lvl5pPr>
          </a:lstStyle>
          <a:p>
            <a:pPr lvl="0"/>
            <a:r>
              <a:rPr lang="en-US" dirty="0"/>
              <a:t>Type in or paste your text here</a:t>
            </a:r>
          </a:p>
        </p:txBody>
      </p:sp>
      <p:sp>
        <p:nvSpPr>
          <p:cNvPr id="29" name="Text Placeholder 5"/>
          <p:cNvSpPr>
            <a:spLocks noGrp="1"/>
          </p:cNvSpPr>
          <p:nvPr>
            <p:ph type="body" sz="quarter" idx="29" hasCustomPrompt="1"/>
          </p:nvPr>
        </p:nvSpPr>
        <p:spPr>
          <a:xfrm>
            <a:off x="9275081" y="5349878"/>
            <a:ext cx="2790837" cy="303473"/>
          </a:xfrm>
          <a:prstGeom prst="rect">
            <a:avLst/>
          </a:prstGeom>
          <a:noFill/>
        </p:spPr>
        <p:txBody>
          <a:bodyPr wrap="square" lIns="91436" tIns="91436" rIns="91436" bIns="91436" anchor="t" anchorCtr="0">
            <a:spAutoFit/>
          </a:bodyPr>
          <a:lstStyle>
            <a:lvl1pPr marL="0" indent="0" algn="ctr">
              <a:buNone/>
              <a:defRPr sz="772" b="1" u="sng" baseline="0">
                <a:solidFill>
                  <a:schemeClr val="accent5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(click to edit)  ACKNOWLEDGEMENTS or  CONTACT</a:t>
            </a:r>
          </a:p>
        </p:txBody>
      </p:sp>
      <p:sp>
        <p:nvSpPr>
          <p:cNvPr id="30" name="Text Placeholder 3"/>
          <p:cNvSpPr>
            <a:spLocks noGrp="1"/>
          </p:cNvSpPr>
          <p:nvPr>
            <p:ph type="body" sz="quarter" idx="30" hasCustomPrompt="1"/>
          </p:nvPr>
        </p:nvSpPr>
        <p:spPr>
          <a:xfrm>
            <a:off x="9275086" y="5506972"/>
            <a:ext cx="2792236" cy="541793"/>
          </a:xfrm>
          <a:prstGeom prst="rect">
            <a:avLst/>
          </a:prstGeom>
        </p:spPr>
        <p:txBody>
          <a:bodyPr wrap="square" lIns="228589" tIns="228589" rIns="228589" bIns="228589" anchor="t" anchorCtr="0">
            <a:spAutoFit/>
          </a:bodyPr>
          <a:lstStyle>
            <a:lvl1pPr marL="0" indent="0">
              <a:buNone/>
              <a:defRPr sz="521">
                <a:solidFill>
                  <a:schemeClr val="accent5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defRPr>
            </a:lvl1pPr>
            <a:lvl2pPr marL="309599" indent="-119077">
              <a:defRPr sz="521">
                <a:latin typeface="Trebuchet MS" pitchFamily="34" charset="0"/>
              </a:defRPr>
            </a:lvl2pPr>
            <a:lvl3pPr marL="428677" indent="-119077">
              <a:defRPr sz="521">
                <a:latin typeface="Trebuchet MS" pitchFamily="34" charset="0"/>
              </a:defRPr>
            </a:lvl3pPr>
            <a:lvl4pPr marL="559662" indent="-130985">
              <a:defRPr sz="521">
                <a:latin typeface="Trebuchet MS" pitchFamily="34" charset="0"/>
              </a:defRPr>
            </a:lvl4pPr>
            <a:lvl5pPr marL="654926" indent="-95263">
              <a:defRPr sz="521">
                <a:latin typeface="Trebuchet MS" pitchFamily="34" charset="0"/>
              </a:defRPr>
            </a:lvl5pPr>
          </a:lstStyle>
          <a:p>
            <a:pPr lvl="0"/>
            <a:r>
              <a:rPr lang="en-US" dirty="0"/>
              <a:t>Type in or paste your text here</a:t>
            </a:r>
          </a:p>
        </p:txBody>
      </p:sp>
      <p:sp>
        <p:nvSpPr>
          <p:cNvPr id="60" name="Text Placeholder 3"/>
          <p:cNvSpPr>
            <a:spLocks noGrp="1"/>
          </p:cNvSpPr>
          <p:nvPr>
            <p:ph type="body" sz="quarter" idx="96" hasCustomPrompt="1"/>
          </p:nvPr>
        </p:nvSpPr>
        <p:spPr>
          <a:xfrm>
            <a:off x="118874" y="3114908"/>
            <a:ext cx="2793559" cy="541793"/>
          </a:xfrm>
          <a:prstGeom prst="rect">
            <a:avLst/>
          </a:prstGeom>
        </p:spPr>
        <p:txBody>
          <a:bodyPr wrap="square" lIns="228589" tIns="228589" rIns="228589" bIns="228589" anchor="t" anchorCtr="0">
            <a:spAutoFit/>
          </a:bodyPr>
          <a:lstStyle>
            <a:lvl1pPr marL="0" indent="0">
              <a:buNone/>
              <a:defRPr sz="521">
                <a:solidFill>
                  <a:schemeClr val="accent5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defRPr>
            </a:lvl1pPr>
            <a:lvl2pPr marL="309599" indent="-119077">
              <a:defRPr sz="521">
                <a:latin typeface="Trebuchet MS" pitchFamily="34" charset="0"/>
              </a:defRPr>
            </a:lvl2pPr>
            <a:lvl3pPr marL="428677" indent="-119077">
              <a:defRPr sz="521">
                <a:latin typeface="Trebuchet MS" pitchFamily="34" charset="0"/>
              </a:defRPr>
            </a:lvl3pPr>
            <a:lvl4pPr marL="559662" indent="-130985">
              <a:defRPr sz="521">
                <a:latin typeface="Trebuchet MS" pitchFamily="34" charset="0"/>
              </a:defRPr>
            </a:lvl4pPr>
            <a:lvl5pPr marL="654926" indent="-95263">
              <a:defRPr sz="521">
                <a:latin typeface="Trebuchet MS" pitchFamily="34" charset="0"/>
              </a:defRPr>
            </a:lvl5pPr>
          </a:lstStyle>
          <a:p>
            <a:pPr lvl="0"/>
            <a:r>
              <a:rPr lang="en-US" dirty="0"/>
              <a:t>Type in or paste your text here</a:t>
            </a:r>
          </a:p>
        </p:txBody>
      </p:sp>
      <p:sp>
        <p:nvSpPr>
          <p:cNvPr id="77" name="Text Placeholder 76"/>
          <p:cNvSpPr>
            <a:spLocks noGrp="1"/>
          </p:cNvSpPr>
          <p:nvPr>
            <p:ph type="body" sz="quarter" idx="150" hasCustomPrompt="1"/>
          </p:nvPr>
        </p:nvSpPr>
        <p:spPr>
          <a:xfrm>
            <a:off x="1647947" y="704990"/>
            <a:ext cx="8888603" cy="265457"/>
          </a:xfrm>
          <a:prstGeom prst="rect">
            <a:avLst/>
          </a:prstGeom>
        </p:spPr>
        <p:txBody>
          <a:bodyPr anchor="t" anchorCtr="0">
            <a:spAutoFit/>
          </a:bodyPr>
          <a:lstStyle>
            <a:lvl1pPr marL="0" indent="0" algn="ctr">
              <a:buFontTx/>
              <a:buNone/>
              <a:defRPr sz="1125">
                <a:solidFill>
                  <a:schemeClr val="accent5">
                    <a:lumMod val="50000"/>
                  </a:schemeClr>
                </a:solidFill>
                <a:latin typeface="+mj-lt"/>
              </a:defRPr>
            </a:lvl1pPr>
            <a:lvl2pPr>
              <a:buFontTx/>
              <a:buNone/>
              <a:defRPr sz="1500"/>
            </a:lvl2pPr>
            <a:lvl3pPr>
              <a:buFontTx/>
              <a:buNone/>
              <a:defRPr sz="1500"/>
            </a:lvl3pPr>
            <a:lvl4pPr>
              <a:buFontTx/>
              <a:buNone/>
              <a:defRPr sz="1500"/>
            </a:lvl4pPr>
            <a:lvl5pPr>
              <a:buFontTx/>
              <a:buNone/>
              <a:defRPr sz="1500"/>
            </a:lvl5pPr>
          </a:lstStyle>
          <a:p>
            <a:pPr lvl="0"/>
            <a:r>
              <a:rPr lang="en-US" dirty="0"/>
              <a:t>Click here to add affiliations</a:t>
            </a:r>
          </a:p>
        </p:txBody>
      </p:sp>
      <p:sp>
        <p:nvSpPr>
          <p:cNvPr id="78" name="Text Placeholder 76"/>
          <p:cNvSpPr>
            <a:spLocks noGrp="1"/>
          </p:cNvSpPr>
          <p:nvPr>
            <p:ph type="body" sz="quarter" idx="151" hasCustomPrompt="1"/>
          </p:nvPr>
        </p:nvSpPr>
        <p:spPr>
          <a:xfrm>
            <a:off x="1647947" y="438290"/>
            <a:ext cx="8888603" cy="349006"/>
          </a:xfrm>
          <a:prstGeom prst="rect">
            <a:avLst/>
          </a:prstGeom>
        </p:spPr>
        <p:txBody>
          <a:bodyPr anchor="t" anchorCtr="0">
            <a:spAutoFit/>
          </a:bodyPr>
          <a:lstStyle>
            <a:lvl1pPr marL="0" indent="0" algn="ctr">
              <a:buFontTx/>
              <a:buNone/>
              <a:defRPr sz="1668">
                <a:solidFill>
                  <a:schemeClr val="accent5">
                    <a:lumMod val="50000"/>
                  </a:schemeClr>
                </a:solidFill>
                <a:latin typeface="+mj-lt"/>
              </a:defRPr>
            </a:lvl1pPr>
            <a:lvl2pPr>
              <a:buFontTx/>
              <a:buNone/>
              <a:defRPr sz="1500"/>
            </a:lvl2pPr>
            <a:lvl3pPr>
              <a:buFontTx/>
              <a:buNone/>
              <a:defRPr sz="1500"/>
            </a:lvl3pPr>
            <a:lvl4pPr>
              <a:buFontTx/>
              <a:buNone/>
              <a:defRPr sz="1500"/>
            </a:lvl4pPr>
            <a:lvl5pPr>
              <a:buFontTx/>
              <a:buNone/>
              <a:defRPr sz="1500"/>
            </a:lvl5pPr>
          </a:lstStyle>
          <a:p>
            <a:pPr lvl="0"/>
            <a:r>
              <a:rPr lang="en-US" dirty="0"/>
              <a:t>Click here to add authors</a:t>
            </a:r>
          </a:p>
        </p:txBody>
      </p:sp>
      <p:sp>
        <p:nvSpPr>
          <p:cNvPr id="79" name="Text Placeholder 76"/>
          <p:cNvSpPr>
            <a:spLocks noGrp="1"/>
          </p:cNvSpPr>
          <p:nvPr>
            <p:ph type="body" sz="quarter" idx="153" hasCustomPrompt="1"/>
          </p:nvPr>
        </p:nvSpPr>
        <p:spPr>
          <a:xfrm>
            <a:off x="520345" y="-617854"/>
            <a:ext cx="11545575" cy="107721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 algn="ctr">
              <a:buFontTx/>
              <a:buNone/>
              <a:defRPr sz="2000" b="1">
                <a:solidFill>
                  <a:schemeClr val="accent5">
                    <a:lumMod val="50000"/>
                  </a:schemeClr>
                </a:solidFill>
                <a:latin typeface="+mj-lt"/>
              </a:defRPr>
            </a:lvl1pPr>
            <a:lvl2pPr>
              <a:buFontTx/>
              <a:buNone/>
              <a:defRPr sz="1500"/>
            </a:lvl2pPr>
            <a:lvl3pPr>
              <a:buFontTx/>
              <a:buNone/>
              <a:defRPr sz="1500"/>
            </a:lvl3pPr>
            <a:lvl4pPr>
              <a:buFontTx/>
              <a:buNone/>
              <a:defRPr sz="1500"/>
            </a:lvl4pPr>
            <a:lvl5pPr>
              <a:buFontTx/>
              <a:buNone/>
              <a:defRPr sz="1500"/>
            </a:lvl5pPr>
          </a:lstStyle>
          <a:p>
            <a:pPr lvl="0"/>
            <a:r>
              <a:rPr lang="en-GB" dirty="0"/>
              <a:t>Is early, adequate nutrition within Critical Care established? – Following out of hours enteral feeding guideline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504697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1C15B8-0DBF-87A5-25A4-BE2918709B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64BDF4E-B12A-7950-11DB-6FEE561684D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216592F-0086-ADE6-D3F1-DF5892DDD9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0CDEAF-96E6-44B5-B253-C687B29BE08A}" type="datetimeFigureOut">
              <a:rPr lang="en-GB" smtClean="0"/>
              <a:t>21/05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69A37C7-EEE4-431F-92BD-54A416C877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A6A4070-244A-10E3-101E-4B8F1FC255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9D3EA8-6D67-4C79-B3CA-C863532DFA2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9306501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DB036B-58AB-A3DA-469C-38907B5DDD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3" y="1709739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AFAAE03-59E0-D3F1-4FD0-A17A42766E6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3" y="4589466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1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33" indent="0">
              <a:buNone/>
              <a:defRPr sz="1801">
                <a:solidFill>
                  <a:schemeClr val="tx1">
                    <a:tint val="75000"/>
                  </a:schemeClr>
                </a:solidFill>
              </a:defRPr>
            </a:lvl3pPr>
            <a:lvl4pPr marL="137165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6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8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30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5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73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CB952B5-27D1-254A-054A-4A44316C23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0CDEAF-96E6-44B5-B253-C687B29BE08A}" type="datetimeFigureOut">
              <a:rPr lang="en-GB" smtClean="0"/>
              <a:t>21/05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C24A7C4-F354-F530-3D8A-979E0D02F8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8AE26D2-2E39-2064-FC53-99EBB015BD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9D3EA8-6D67-4C79-B3CA-C863532DFA2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7921942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D73AB8-A155-0842-7B6A-A995BA1EB0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7A3A86C-2D68-8724-5DB8-F8026D1F2E6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1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7E9D1ED-44F4-0BCB-DF1D-F0749461564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1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3C8641-9DD0-A3C4-B1EB-A979F4D5E8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0CDEAF-96E6-44B5-B253-C687B29BE08A}" type="datetimeFigureOut">
              <a:rPr lang="en-GB" smtClean="0"/>
              <a:t>21/05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442DC8A-C3C2-09F6-5215-5D5D8782A2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C20585E-A6CE-D3D4-EDF4-5474A31B8B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9D3EA8-6D67-4C79-B3CA-C863532DFA2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5339075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3F9011-44B3-C2A0-438A-EF262195E0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9" y="365126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39287AA-31B6-9E8E-1BBC-644CA9E9215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93" y="1681164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16" indent="0">
              <a:buNone/>
              <a:defRPr sz="2000" b="1"/>
            </a:lvl2pPr>
            <a:lvl3pPr marL="914433" indent="0">
              <a:buNone/>
              <a:defRPr sz="1801" b="1"/>
            </a:lvl3pPr>
            <a:lvl4pPr marL="1371653" indent="0">
              <a:buNone/>
              <a:defRPr sz="1600" b="1"/>
            </a:lvl4pPr>
            <a:lvl5pPr marL="1828869" indent="0">
              <a:buNone/>
              <a:defRPr sz="1600" b="1"/>
            </a:lvl5pPr>
            <a:lvl6pPr marL="2286085" indent="0">
              <a:buNone/>
              <a:defRPr sz="1600" b="1"/>
            </a:lvl6pPr>
            <a:lvl7pPr marL="2743302" indent="0">
              <a:buNone/>
              <a:defRPr sz="1600" b="1"/>
            </a:lvl7pPr>
            <a:lvl8pPr marL="3200522" indent="0">
              <a:buNone/>
              <a:defRPr sz="1600" b="1"/>
            </a:lvl8pPr>
            <a:lvl9pPr marL="3657738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D00288C-34FA-CA01-A216-6B55E07FFFC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93" y="2505076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CBDB33F-7E3F-D021-B03B-40DF135651D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3" y="1681164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16" indent="0">
              <a:buNone/>
              <a:defRPr sz="2000" b="1"/>
            </a:lvl2pPr>
            <a:lvl3pPr marL="914433" indent="0">
              <a:buNone/>
              <a:defRPr sz="1801" b="1"/>
            </a:lvl3pPr>
            <a:lvl4pPr marL="1371653" indent="0">
              <a:buNone/>
              <a:defRPr sz="1600" b="1"/>
            </a:lvl4pPr>
            <a:lvl5pPr marL="1828869" indent="0">
              <a:buNone/>
              <a:defRPr sz="1600" b="1"/>
            </a:lvl5pPr>
            <a:lvl6pPr marL="2286085" indent="0">
              <a:buNone/>
              <a:defRPr sz="1600" b="1"/>
            </a:lvl6pPr>
            <a:lvl7pPr marL="2743302" indent="0">
              <a:buNone/>
              <a:defRPr sz="1600" b="1"/>
            </a:lvl7pPr>
            <a:lvl8pPr marL="3200522" indent="0">
              <a:buNone/>
              <a:defRPr sz="1600" b="1"/>
            </a:lvl8pPr>
            <a:lvl9pPr marL="3657738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8659576-4D79-BA3F-4AE1-B4C4BB9702D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3" y="2505076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C50E7AD-A795-3A93-70EF-628A5CB4FB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0CDEAF-96E6-44B5-B253-C687B29BE08A}" type="datetimeFigureOut">
              <a:rPr lang="en-GB" smtClean="0"/>
              <a:t>21/05/2024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646AC67-8170-AD35-DAED-2D75ED396D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16C0C7F-6AA8-0547-111B-7B9E7BB063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9D3EA8-6D67-4C79-B3CA-C863532DFA2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7433560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8E2791-D656-EA5B-84B3-26321E7263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686E6A3-FBD3-A635-694A-168F8C3AC8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0CDEAF-96E6-44B5-B253-C687B29BE08A}" type="datetimeFigureOut">
              <a:rPr lang="en-GB" smtClean="0"/>
              <a:t>21/05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2C34B12-C2B4-A1BE-6DF6-82D91022FE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079049E-C009-6F55-2BA8-48DFE5A6AD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9D3EA8-6D67-4C79-B3CA-C863532DFA2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4818526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0DC071-9CFB-0979-C280-136365F422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0CDEAF-96E6-44B5-B253-C687B29BE08A}" type="datetimeFigureOut">
              <a:rPr lang="en-GB" smtClean="0"/>
              <a:t>21/05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D3114C4-EF35-E55E-FA97-AA156D07D7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B800F4A-265F-F3E4-6B41-9FE02D37FC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9D3EA8-6D67-4C79-B3CA-C863532DFA2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182466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E6FAD0-DC67-8465-517D-D5245B6F89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91" y="457200"/>
            <a:ext cx="3932236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EF41EB1-6B31-6E01-C58B-A90DA35FFA7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92" y="987426"/>
            <a:ext cx="6172201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BA8A04A-8D4C-156D-9E9E-A23D2AFCD1C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91" y="2057400"/>
            <a:ext cx="3932236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16" indent="0">
              <a:buNone/>
              <a:defRPr sz="1401"/>
            </a:lvl2pPr>
            <a:lvl3pPr marL="914433" indent="0">
              <a:buNone/>
              <a:defRPr sz="1200"/>
            </a:lvl3pPr>
            <a:lvl4pPr marL="1371653" indent="0">
              <a:buNone/>
              <a:defRPr sz="1001"/>
            </a:lvl4pPr>
            <a:lvl5pPr marL="1828869" indent="0">
              <a:buNone/>
              <a:defRPr sz="1001"/>
            </a:lvl5pPr>
            <a:lvl6pPr marL="2286085" indent="0">
              <a:buNone/>
              <a:defRPr sz="1001"/>
            </a:lvl6pPr>
            <a:lvl7pPr marL="2743302" indent="0">
              <a:buNone/>
              <a:defRPr sz="1001"/>
            </a:lvl7pPr>
            <a:lvl8pPr marL="3200522" indent="0">
              <a:buNone/>
              <a:defRPr sz="1001"/>
            </a:lvl8pPr>
            <a:lvl9pPr marL="3657738" indent="0">
              <a:buNone/>
              <a:defRPr sz="100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219ACAE-6016-2EF0-61D5-9AB7EE8089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0CDEAF-96E6-44B5-B253-C687B29BE08A}" type="datetimeFigureOut">
              <a:rPr lang="en-GB" smtClean="0"/>
              <a:t>21/05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8FC3709-5732-6ED0-E576-E424E3D874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B4175FC-18E9-3749-F5F8-BAF3D06789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9D3EA8-6D67-4C79-B3CA-C863532DFA2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6381380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D067ED-73DD-C22D-3B69-702C120CEE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91" y="457200"/>
            <a:ext cx="3932236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DDDE77D-3AD4-AB56-95BF-00D533A7BC7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92" y="987426"/>
            <a:ext cx="6172201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16" indent="0">
              <a:buNone/>
              <a:defRPr sz="2800"/>
            </a:lvl2pPr>
            <a:lvl3pPr marL="914433" indent="0">
              <a:buNone/>
              <a:defRPr sz="2400"/>
            </a:lvl3pPr>
            <a:lvl4pPr marL="1371653" indent="0">
              <a:buNone/>
              <a:defRPr sz="2000"/>
            </a:lvl4pPr>
            <a:lvl5pPr marL="1828869" indent="0">
              <a:buNone/>
              <a:defRPr sz="2000"/>
            </a:lvl5pPr>
            <a:lvl6pPr marL="2286085" indent="0">
              <a:buNone/>
              <a:defRPr sz="2000"/>
            </a:lvl6pPr>
            <a:lvl7pPr marL="2743302" indent="0">
              <a:buNone/>
              <a:defRPr sz="2000"/>
            </a:lvl7pPr>
            <a:lvl8pPr marL="3200522" indent="0">
              <a:buNone/>
              <a:defRPr sz="2000"/>
            </a:lvl8pPr>
            <a:lvl9pPr marL="3657738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5DF86DA-99E6-9EAC-E0A6-EA589C08DF6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91" y="2057400"/>
            <a:ext cx="3932236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16" indent="0">
              <a:buNone/>
              <a:defRPr sz="1401"/>
            </a:lvl2pPr>
            <a:lvl3pPr marL="914433" indent="0">
              <a:buNone/>
              <a:defRPr sz="1200"/>
            </a:lvl3pPr>
            <a:lvl4pPr marL="1371653" indent="0">
              <a:buNone/>
              <a:defRPr sz="1001"/>
            </a:lvl4pPr>
            <a:lvl5pPr marL="1828869" indent="0">
              <a:buNone/>
              <a:defRPr sz="1001"/>
            </a:lvl5pPr>
            <a:lvl6pPr marL="2286085" indent="0">
              <a:buNone/>
              <a:defRPr sz="1001"/>
            </a:lvl6pPr>
            <a:lvl7pPr marL="2743302" indent="0">
              <a:buNone/>
              <a:defRPr sz="1001"/>
            </a:lvl7pPr>
            <a:lvl8pPr marL="3200522" indent="0">
              <a:buNone/>
              <a:defRPr sz="1001"/>
            </a:lvl8pPr>
            <a:lvl9pPr marL="3657738" indent="0">
              <a:buNone/>
              <a:defRPr sz="100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58AC816-3FB6-B5AD-0F09-559CC286D27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0CDEAF-96E6-44B5-B253-C687B29BE08A}" type="datetimeFigureOut">
              <a:rPr lang="en-GB" smtClean="0"/>
              <a:t>21/05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BD46C1F-2735-9E12-118E-E435CBF59C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94D4F57-5EB5-9FF3-3BFB-567FC5C5C3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9D3EA8-6D67-4C79-B3CA-C863532DFA2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6552377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C701FD75-F969-B07E-1ED4-A369915881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020115125"/>
              </p:ext>
            </p:ext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16" imgH="416" progId="TCLayout.ActiveDocument.1">
                  <p:embed/>
                </p:oleObj>
              </mc:Choice>
              <mc:Fallback>
                <p:oleObj name="think-cell Slide" r:id="rId14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14CAA73-6196-9D24-3DD8-6001165203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5" y="365126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11FDD09-C808-ABC1-0B7F-817D55B1FBD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5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12E4AF6-16B2-F6CE-3D48-C1CAD01CB65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1" y="6356353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90CDEAF-96E6-44B5-B253-C687B29BE08A}" type="datetimeFigureOut">
              <a:rPr lang="en-GB" smtClean="0"/>
              <a:t>21/05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6D49A1F-100E-F755-009D-617B34822E3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5" y="6356353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6A62D3F-F63F-CCDB-D81F-B8BA6E24CE5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1" y="6356353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39D3EA8-6D67-4C79-B3CA-C863532DFA2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650457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33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9" indent="-228609" algn="l" defTabSz="914433" rtl="0" eaLnBrk="1" latinLnBrk="0" hangingPunct="1">
        <a:lnSpc>
          <a:spcPct val="90000"/>
        </a:lnSpc>
        <a:spcBef>
          <a:spcPts val="1001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27" indent="-228609" algn="l" defTabSz="91443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44" indent="-228609" algn="l" defTabSz="91443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60" indent="-228609" algn="l" defTabSz="91443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2057478" indent="-228609" algn="l" defTabSz="91443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514696" indent="-228609" algn="l" defTabSz="91443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971913" indent="-228609" algn="l" defTabSz="91443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429129" indent="-228609" algn="l" defTabSz="91443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886345" indent="-228609" algn="l" defTabSz="91443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33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1pPr>
      <a:lvl2pPr marL="457216" algn="l" defTabSz="914433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2pPr>
      <a:lvl3pPr marL="914433" algn="l" defTabSz="914433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3pPr>
      <a:lvl4pPr marL="1371653" algn="l" defTabSz="914433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1828869" algn="l" defTabSz="914433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286085" algn="l" defTabSz="914433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743302" algn="l" defTabSz="914433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200522" algn="l" defTabSz="914433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657738" algn="l" defTabSz="914433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014F0052-EB2B-214A-A571-468A263B568E}"/>
              </a:ext>
            </a:extLst>
          </p:cNvPr>
          <p:cNvGrpSpPr/>
          <p:nvPr userDrawn="1"/>
        </p:nvGrpSpPr>
        <p:grpSpPr>
          <a:xfrm>
            <a:off x="-34110" y="-21435"/>
            <a:ext cx="12251829" cy="6895286"/>
            <a:chOff x="-122803" y="-102882"/>
            <a:chExt cx="44106584" cy="33097370"/>
          </a:xfrm>
        </p:grpSpPr>
        <p:sp>
          <p:nvSpPr>
            <p:cNvPr id="64" name="Freeform 63"/>
            <p:cNvSpPr/>
            <p:nvPr userDrawn="1"/>
          </p:nvSpPr>
          <p:spPr>
            <a:xfrm>
              <a:off x="-51142" y="-84749"/>
              <a:ext cx="44034923" cy="33056938"/>
            </a:xfrm>
            <a:custGeom>
              <a:avLst/>
              <a:gdLst>
                <a:gd name="connsiteX0" fmla="*/ 0 w 44005500"/>
                <a:gd name="connsiteY0" fmla="*/ 0 h 32956500"/>
                <a:gd name="connsiteX1" fmla="*/ 44005500 w 44005500"/>
                <a:gd name="connsiteY1" fmla="*/ 32956500 h 32956500"/>
                <a:gd name="connsiteX2" fmla="*/ 38100 w 44005500"/>
                <a:gd name="connsiteY2" fmla="*/ 32918400 h 32956500"/>
                <a:gd name="connsiteX3" fmla="*/ 0 w 44005500"/>
                <a:gd name="connsiteY3" fmla="*/ 0 h 3295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005500" h="32956500">
                  <a:moveTo>
                    <a:pt x="0" y="0"/>
                  </a:moveTo>
                  <a:lnTo>
                    <a:pt x="44005500" y="32956500"/>
                  </a:lnTo>
                  <a:lnTo>
                    <a:pt x="38100" y="32918400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79000">
                  <a:schemeClr val="accent1">
                    <a:lumMod val="40000"/>
                    <a:lumOff val="60000"/>
                  </a:schemeClr>
                </a:gs>
                <a:gs pos="13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23" dirty="0"/>
            </a:p>
          </p:txBody>
        </p:sp>
        <p:sp>
          <p:nvSpPr>
            <p:cNvPr id="65" name="Freeform 64"/>
            <p:cNvSpPr/>
            <p:nvPr userDrawn="1"/>
          </p:nvSpPr>
          <p:spPr>
            <a:xfrm flipH="1" flipV="1">
              <a:off x="-51143" y="-84749"/>
              <a:ext cx="44034921" cy="33039928"/>
            </a:xfrm>
            <a:custGeom>
              <a:avLst/>
              <a:gdLst>
                <a:gd name="connsiteX0" fmla="*/ 0 w 44005500"/>
                <a:gd name="connsiteY0" fmla="*/ 0 h 32956500"/>
                <a:gd name="connsiteX1" fmla="*/ 44005500 w 44005500"/>
                <a:gd name="connsiteY1" fmla="*/ 32956500 h 32956500"/>
                <a:gd name="connsiteX2" fmla="*/ 38100 w 44005500"/>
                <a:gd name="connsiteY2" fmla="*/ 32918400 h 32956500"/>
                <a:gd name="connsiteX3" fmla="*/ 0 w 44005500"/>
                <a:gd name="connsiteY3" fmla="*/ 0 h 3295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005500" h="32956500">
                  <a:moveTo>
                    <a:pt x="0" y="0"/>
                  </a:moveTo>
                  <a:lnTo>
                    <a:pt x="44005500" y="32956500"/>
                  </a:lnTo>
                  <a:lnTo>
                    <a:pt x="38100" y="32918400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41000">
                  <a:schemeClr val="bg2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23"/>
            </a:p>
          </p:txBody>
        </p:sp>
        <p:sp>
          <p:nvSpPr>
            <p:cNvPr id="66" name="Freeform 65"/>
            <p:cNvSpPr/>
            <p:nvPr userDrawn="1"/>
          </p:nvSpPr>
          <p:spPr>
            <a:xfrm>
              <a:off x="-122803" y="-102882"/>
              <a:ext cx="44106584" cy="33075071"/>
            </a:xfrm>
            <a:custGeom>
              <a:avLst/>
              <a:gdLst>
                <a:gd name="connsiteX0" fmla="*/ 36576 w 39026592"/>
                <a:gd name="connsiteY0" fmla="*/ 0 h 30614112"/>
                <a:gd name="connsiteX1" fmla="*/ 15837408 w 39026592"/>
                <a:gd name="connsiteY1" fmla="*/ 30614112 h 30614112"/>
                <a:gd name="connsiteX2" fmla="*/ 39026592 w 39026592"/>
                <a:gd name="connsiteY2" fmla="*/ 13350240 h 30614112"/>
                <a:gd name="connsiteX3" fmla="*/ 0 w 39026592"/>
                <a:gd name="connsiteY3" fmla="*/ 73152 h 30614112"/>
                <a:gd name="connsiteX4" fmla="*/ 109728 w 39026592"/>
                <a:gd name="connsiteY4" fmla="*/ 146304 h 306141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026592" h="30614112">
                  <a:moveTo>
                    <a:pt x="36576" y="0"/>
                  </a:moveTo>
                  <a:lnTo>
                    <a:pt x="15837408" y="30614112"/>
                  </a:lnTo>
                  <a:lnTo>
                    <a:pt x="39026592" y="13350240"/>
                  </a:lnTo>
                  <a:lnTo>
                    <a:pt x="0" y="73152"/>
                  </a:lnTo>
                  <a:lnTo>
                    <a:pt x="109728" y="146304"/>
                  </a:lnTo>
                </a:path>
              </a:pathLst>
            </a:custGeom>
            <a:gradFill flip="none" rotWithShape="1">
              <a:gsLst>
                <a:gs pos="0">
                  <a:schemeClr val="bg1"/>
                </a:gs>
                <a:gs pos="76000">
                  <a:schemeClr val="accent1">
                    <a:lumMod val="30000"/>
                    <a:lumOff val="70000"/>
                    <a:alpha val="0"/>
                  </a:schemeClr>
                </a:gs>
              </a:gsLst>
              <a:path path="rect">
                <a:fillToRect r="100000" b="100000"/>
              </a:path>
              <a:tileRect l="-100000" t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23"/>
            </a:p>
          </p:txBody>
        </p:sp>
        <p:sp>
          <p:nvSpPr>
            <p:cNvPr id="68" name="Text Box 14"/>
            <p:cNvSpPr txBox="1">
              <a:spLocks noChangeArrowheads="1"/>
            </p:cNvSpPr>
            <p:nvPr userDrawn="1"/>
          </p:nvSpPr>
          <p:spPr bwMode="auto">
            <a:xfrm>
              <a:off x="1603879" y="32173893"/>
              <a:ext cx="2514598" cy="8205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91263" tIns="45623" rIns="91263" bIns="45623">
              <a:spAutoFit/>
            </a:bodyPr>
            <a:lstStyle/>
            <a:p>
              <a:pPr eaLnBrk="0" hangingPunct="0">
                <a:lnSpc>
                  <a:spcPct val="65000"/>
                </a:lnSpc>
                <a:spcBef>
                  <a:spcPct val="50000"/>
                </a:spcBef>
                <a:defRPr/>
              </a:pPr>
              <a:r>
                <a:rPr lang="en-US" sz="178" b="1" dirty="0">
                  <a:solidFill>
                    <a:schemeClr val="bg1">
                      <a:lumMod val="75000"/>
                    </a:schemeClr>
                  </a:solidFill>
                  <a:latin typeface="Arial" charset="0"/>
                </a:rPr>
                <a:t>RESEARCH POSTER PRESENTATION DESIGN © 2019</a:t>
              </a:r>
            </a:p>
            <a:p>
              <a:pPr eaLnBrk="0" hangingPunct="0">
                <a:lnSpc>
                  <a:spcPct val="65000"/>
                </a:lnSpc>
                <a:spcBef>
                  <a:spcPct val="50000"/>
                </a:spcBef>
                <a:defRPr/>
              </a:pPr>
              <a:r>
                <a:rPr lang="en-US" sz="229" b="1" dirty="0">
                  <a:solidFill>
                    <a:schemeClr val="bg1">
                      <a:lumMod val="75000"/>
                    </a:schemeClr>
                  </a:solidFill>
                  <a:latin typeface="Arial" charset="0"/>
                </a:rPr>
                <a:t>www.PosterPresentations.com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9207349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</p:sldLayoutIdLst>
  <p:txStyles>
    <p:titleStyle>
      <a:lvl1pPr algn="ctr" defTabSz="914511" rtl="0" eaLnBrk="1" latinLnBrk="0" hangingPunct="1">
        <a:spcBef>
          <a:spcPct val="0"/>
        </a:spcBef>
        <a:buNone/>
        <a:defRPr sz="1835" kern="1200">
          <a:solidFill>
            <a:schemeClr val="bg1"/>
          </a:solidFill>
          <a:latin typeface="Trebuchet MS" pitchFamily="34" charset="0"/>
          <a:ea typeface="+mj-ea"/>
          <a:cs typeface="+mj-cs"/>
        </a:defRPr>
      </a:lvl1pPr>
    </p:titleStyle>
    <p:bodyStyle>
      <a:lvl1pPr marL="342943" indent="-342943" algn="l" defTabSz="914511" rtl="0" eaLnBrk="1" latinLnBrk="0" hangingPunct="1">
        <a:spcBef>
          <a:spcPct val="20000"/>
        </a:spcBef>
        <a:buFont typeface="Arial" pitchFamily="34" charset="0"/>
        <a:buChar char="•"/>
        <a:defRPr sz="3209" kern="1200">
          <a:solidFill>
            <a:schemeClr val="tx1"/>
          </a:solidFill>
          <a:latin typeface="+mn-lt"/>
          <a:ea typeface="+mn-ea"/>
          <a:cs typeface="+mn-cs"/>
        </a:defRPr>
      </a:lvl1pPr>
      <a:lvl2pPr marL="743042" indent="-285785" algn="l" defTabSz="914511" rtl="0" eaLnBrk="1" latinLnBrk="0" hangingPunct="1">
        <a:spcBef>
          <a:spcPct val="20000"/>
        </a:spcBef>
        <a:buFont typeface="Arial" pitchFamily="34" charset="0"/>
        <a:buChar char="–"/>
        <a:defRPr sz="2812" kern="1200">
          <a:solidFill>
            <a:schemeClr val="tx1"/>
          </a:solidFill>
          <a:latin typeface="+mn-lt"/>
          <a:ea typeface="+mn-ea"/>
          <a:cs typeface="+mn-cs"/>
        </a:defRPr>
      </a:lvl2pPr>
      <a:lvl3pPr marL="1143140" indent="-228629" algn="l" defTabSz="914511" rtl="0" eaLnBrk="1" latinLnBrk="0" hangingPunct="1">
        <a:spcBef>
          <a:spcPct val="20000"/>
        </a:spcBef>
        <a:buFont typeface="Arial" pitchFamily="34" charset="0"/>
        <a:buChar char="•"/>
        <a:defRPr sz="2418" kern="1200">
          <a:solidFill>
            <a:schemeClr val="tx1"/>
          </a:solidFill>
          <a:latin typeface="+mn-lt"/>
          <a:ea typeface="+mn-ea"/>
          <a:cs typeface="+mn-cs"/>
        </a:defRPr>
      </a:lvl3pPr>
      <a:lvl4pPr marL="1600393" indent="-228629" algn="l" defTabSz="914511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651" indent="-228629" algn="l" defTabSz="914511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908" indent="-228629" algn="l" defTabSz="91451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2162" indent="-228629" algn="l" defTabSz="91451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417" indent="-228629" algn="l" defTabSz="91451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674" indent="-228629" algn="l" defTabSz="91451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511" rtl="0" eaLnBrk="1" latinLnBrk="0" hangingPunct="1">
        <a:defRPr sz="1792" kern="1200">
          <a:solidFill>
            <a:schemeClr val="tx1"/>
          </a:solidFill>
          <a:latin typeface="+mn-lt"/>
          <a:ea typeface="+mn-ea"/>
          <a:cs typeface="+mn-cs"/>
        </a:defRPr>
      </a:lvl1pPr>
      <a:lvl2pPr marL="457254" algn="l" defTabSz="914511" rtl="0" eaLnBrk="1" latinLnBrk="0" hangingPunct="1">
        <a:defRPr sz="1792" kern="1200">
          <a:solidFill>
            <a:schemeClr val="tx1"/>
          </a:solidFill>
          <a:latin typeface="+mn-lt"/>
          <a:ea typeface="+mn-ea"/>
          <a:cs typeface="+mn-cs"/>
        </a:defRPr>
      </a:lvl2pPr>
      <a:lvl3pPr marL="914511" algn="l" defTabSz="914511" rtl="0" eaLnBrk="1" latinLnBrk="0" hangingPunct="1">
        <a:defRPr sz="1792" kern="1200">
          <a:solidFill>
            <a:schemeClr val="tx1"/>
          </a:solidFill>
          <a:latin typeface="+mn-lt"/>
          <a:ea typeface="+mn-ea"/>
          <a:cs typeface="+mn-cs"/>
        </a:defRPr>
      </a:lvl3pPr>
      <a:lvl4pPr marL="1371766" algn="l" defTabSz="914511" rtl="0" eaLnBrk="1" latinLnBrk="0" hangingPunct="1">
        <a:defRPr sz="1792" kern="1200">
          <a:solidFill>
            <a:schemeClr val="tx1"/>
          </a:solidFill>
          <a:latin typeface="+mn-lt"/>
          <a:ea typeface="+mn-ea"/>
          <a:cs typeface="+mn-cs"/>
        </a:defRPr>
      </a:lvl4pPr>
      <a:lvl5pPr marL="1829024" algn="l" defTabSz="914511" rtl="0" eaLnBrk="1" latinLnBrk="0" hangingPunct="1">
        <a:defRPr sz="1792" kern="1200">
          <a:solidFill>
            <a:schemeClr val="tx1"/>
          </a:solidFill>
          <a:latin typeface="+mn-lt"/>
          <a:ea typeface="+mn-ea"/>
          <a:cs typeface="+mn-cs"/>
        </a:defRPr>
      </a:lvl5pPr>
      <a:lvl6pPr marL="2286279" algn="l" defTabSz="914511" rtl="0" eaLnBrk="1" latinLnBrk="0" hangingPunct="1">
        <a:defRPr sz="1792" kern="1200">
          <a:solidFill>
            <a:schemeClr val="tx1"/>
          </a:solidFill>
          <a:latin typeface="+mn-lt"/>
          <a:ea typeface="+mn-ea"/>
          <a:cs typeface="+mn-cs"/>
        </a:defRPr>
      </a:lvl6pPr>
      <a:lvl7pPr marL="2743533" algn="l" defTabSz="914511" rtl="0" eaLnBrk="1" latinLnBrk="0" hangingPunct="1">
        <a:defRPr sz="1792" kern="1200">
          <a:solidFill>
            <a:schemeClr val="tx1"/>
          </a:solidFill>
          <a:latin typeface="+mn-lt"/>
          <a:ea typeface="+mn-ea"/>
          <a:cs typeface="+mn-cs"/>
        </a:defRPr>
      </a:lvl7pPr>
      <a:lvl8pPr marL="3200788" algn="l" defTabSz="914511" rtl="0" eaLnBrk="1" latinLnBrk="0" hangingPunct="1">
        <a:defRPr sz="1792" kern="1200">
          <a:solidFill>
            <a:schemeClr val="tx1"/>
          </a:solidFill>
          <a:latin typeface="+mn-lt"/>
          <a:ea typeface="+mn-ea"/>
          <a:cs typeface="+mn-cs"/>
        </a:defRPr>
      </a:lvl8pPr>
      <a:lvl9pPr marL="3658046" algn="l" defTabSz="914511" rtl="0" eaLnBrk="1" latinLnBrk="0" hangingPunct="1">
        <a:defRPr sz="179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665" userDrawn="1">
          <p15:clr>
            <a:srgbClr val="F26B43"/>
          </p15:clr>
        </p15:guide>
        <p15:guide id="2" pos="1604" userDrawn="1">
          <p15:clr>
            <a:srgbClr val="F26B43"/>
          </p15:clr>
        </p15:guide>
        <p15:guide id="3" pos="3120" userDrawn="1">
          <p15:clr>
            <a:srgbClr val="F26B43"/>
          </p15:clr>
        </p15:guide>
        <p15:guide id="4" pos="463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F86D6236-1332-4CB2-CEDE-DFE0E8D8439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01756194"/>
              </p:ext>
            </p:ext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6" progId="TCLayout.ActiveDocument.1">
                  <p:embed/>
                </p:oleObj>
              </mc:Choice>
              <mc:Fallback>
                <p:oleObj name="think-cell Slide" r:id="rId3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9D43BDA9-309C-89EA-858B-AD794DCB5A9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3"/>
            <a:ext cx="12192000" cy="68868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70596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15000"/>
    </mc:Choice>
    <mc:Fallback>
      <p:transition spd="slow" advTm="15000"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AFDD1EDF-A239-043D-4038-326551DF4FE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336613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15000"/>
    </mc:Choice>
    <mc:Fallback>
      <p:transition spd="slow" advTm="15000"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4690147-4870-1869-4B13-B5B67E1099E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3"/>
            <a:ext cx="12192000" cy="68600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984265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15000"/>
    </mc:Choice>
    <mc:Fallback>
      <p:transition spd="slow" advTm="15000"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D2B3989E-F4B6-89C9-3273-7074F7EEC67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" y="5"/>
            <a:ext cx="1219200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108498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15000"/>
    </mc:Choice>
    <mc:Fallback>
      <p:transition spd="slow" advTm="15000"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E1D3B1C2-6E3D-5F88-2A13-8C4245F41C0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5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117505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15000"/>
    </mc:Choice>
    <mc:Fallback>
      <p:transition spd="slow" advTm="15000"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1B8FBC9D-22A8-670C-6C65-B7BD12DDEB2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" y="0"/>
            <a:ext cx="12171279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463199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15000"/>
    </mc:Choice>
    <mc:Fallback>
      <p:transition spd="slow" advTm="15000"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AFB53960-53D9-F233-103D-06A8A972686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"/>
            <a:ext cx="12192000" cy="68501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401283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15000"/>
    </mc:Choice>
    <mc:Fallback>
      <p:transition spd="slow" advTm="15000"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67407F8-8F49-AC62-EB91-8A28ED39B6F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16200000">
            <a:off x="2614361" y="745762"/>
            <a:ext cx="6808679" cy="53171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584590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15000"/>
    </mc:Choice>
    <mc:Fallback>
      <p:transition spd="slow" advTm="15000"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ADA38BD8-9626-EEBC-42D4-A75EC0DB529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85907" y="1114"/>
            <a:ext cx="5253318" cy="68568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716248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15000"/>
    </mc:Choice>
    <mc:Fallback>
      <p:transition spd="slow" advTm="15000"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36x48-Template-V2b">
  <a:themeElements>
    <a:clrScheme name="Custom 1">
      <a:dk1>
        <a:sysClr val="windowText" lastClr="000000"/>
      </a:dk1>
      <a:lt1>
        <a:sysClr val="window" lastClr="FFFFFF"/>
      </a:lt1>
      <a:dk2>
        <a:srgbClr val="454551"/>
      </a:dk2>
      <a:lt2>
        <a:srgbClr val="D8D9DC"/>
      </a:lt2>
      <a:accent1>
        <a:srgbClr val="F3ABD3"/>
      </a:accent1>
      <a:accent2>
        <a:srgbClr val="C830CC"/>
      </a:accent2>
      <a:accent3>
        <a:srgbClr val="4EA6DC"/>
      </a:accent3>
      <a:accent4>
        <a:srgbClr val="4775E7"/>
      </a:accent4>
      <a:accent5>
        <a:srgbClr val="8971E1"/>
      </a:accent5>
      <a:accent6>
        <a:srgbClr val="D54773"/>
      </a:accent6>
      <a:hlink>
        <a:srgbClr val="6B9F25"/>
      </a:hlink>
      <a:folHlink>
        <a:srgbClr val="8C8C8C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sz="2500" dirty="0">
            <a:latin typeface="Times New Roman" panose="02020603050405020304" pitchFamily="18" charset="0"/>
            <a:cs typeface="Times New Roman" panose="02020603050405020304" pitchFamily="18" charset="0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8</TotalTime>
  <Words>0</Words>
  <Application>Microsoft Office PowerPoint</Application>
  <PresentationFormat>Widescreen</PresentationFormat>
  <Paragraphs>0</Paragraphs>
  <Slides>9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7" baseType="lpstr">
      <vt:lpstr>Arial</vt:lpstr>
      <vt:lpstr>Calibri</vt:lpstr>
      <vt:lpstr>Calibri Light</vt:lpstr>
      <vt:lpstr>Times New Roman</vt:lpstr>
      <vt:lpstr>Trebuchet MS</vt:lpstr>
      <vt:lpstr>Office Theme</vt:lpstr>
      <vt:lpstr>36x48-Template-V2b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Leeds Teaching Hospital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ICHMOND, Alison (LEEDS TEACHING HOSPITALS NHS TRUST)</dc:creator>
  <cp:lastModifiedBy>RICHMOND, Alison (LEEDS TEACHING HOSPITALS NHS TRUST)</cp:lastModifiedBy>
  <cp:revision>3</cp:revision>
  <dcterms:created xsi:type="dcterms:W3CDTF">2024-05-21T12:33:46Z</dcterms:created>
  <dcterms:modified xsi:type="dcterms:W3CDTF">2024-05-21T13:12:23Z</dcterms:modified>
</cp:coreProperties>
</file>